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57" r:id="rId4"/>
  </p:sldIdLst>
  <p:sldSz cx="12192000" cy="6858000"/>
  <p:notesSz cx="6797675" cy="9926638"/>
  <p:custDataLst>
    <p:tags r:id="rId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2C6324-F994-48BC-BF90-98CD09090247}" v="28" dt="2025-08-08T05:21:41.133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552" autoAdjust="0"/>
  </p:normalViewPr>
  <p:slideViewPr>
    <p:cSldViewPr snapToGrid="0">
      <p:cViewPr varScale="1">
        <p:scale>
          <a:sx n="120" d="100"/>
          <a:sy n="120" d="100"/>
        </p:scale>
        <p:origin x="120" y="2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halka, Alok" userId="8b5da368-fae3-431a-af6a-84f96258d6d9" providerId="ADAL" clId="{3D2C6324-F994-48BC-BF90-98CD09090247}"/>
    <pc:docChg chg="custSel delSld modSld">
      <pc:chgData name="Mahalka, Alok" userId="8b5da368-fae3-431a-af6a-84f96258d6d9" providerId="ADAL" clId="{3D2C6324-F994-48BC-BF90-98CD09090247}" dt="2025-08-08T05:21:41.133" v="84"/>
      <pc:docMkLst>
        <pc:docMk/>
      </pc:docMkLst>
      <pc:sldChg chg="addSp delSp modSp mod">
        <pc:chgData name="Mahalka, Alok" userId="8b5da368-fae3-431a-af6a-84f96258d6d9" providerId="ADAL" clId="{3D2C6324-F994-48BC-BF90-98CD09090247}" dt="2025-08-08T05:21:41.133" v="84"/>
        <pc:sldMkLst>
          <pc:docMk/>
          <pc:sldMk cId="1487759490" sldId="257"/>
        </pc:sldMkLst>
        <pc:spChg chg="mod">
          <ac:chgData name="Mahalka, Alok" userId="8b5da368-fae3-431a-af6a-84f96258d6d9" providerId="ADAL" clId="{3D2C6324-F994-48BC-BF90-98CD09090247}" dt="2025-08-08T05:21:41.033" v="37" actId="948"/>
          <ac:spMkLst>
            <pc:docMk/>
            <pc:sldMk cId="1487759490" sldId="257"/>
            <ac:spMk id="2" creationId="{DE086CE3-54B1-FC76-075F-A7419CEDBDA4}"/>
          </ac:spMkLst>
        </pc:spChg>
        <pc:spChg chg="add del mod modVis">
          <ac:chgData name="Mahalka, Alok" userId="8b5da368-fae3-431a-af6a-84f96258d6d9" providerId="ADAL" clId="{3D2C6324-F994-48BC-BF90-98CD09090247}" dt="2025-08-08T05:21:41.133" v="82"/>
          <ac:spMkLst>
            <pc:docMk/>
            <pc:sldMk cId="1487759490" sldId="257"/>
            <ac:spMk id="14" creationId="{CA846022-8346-D435-5CDA-C022BD7FBABF}"/>
          </ac:spMkLst>
        </pc:spChg>
        <pc:spChg chg="mod">
          <ac:chgData name="Mahalka, Alok" userId="8b5da368-fae3-431a-af6a-84f96258d6d9" providerId="ADAL" clId="{3D2C6324-F994-48BC-BF90-98CD09090247}" dt="2025-08-08T05:21:41.102" v="80"/>
          <ac:spMkLst>
            <pc:docMk/>
            <pc:sldMk cId="1487759490" sldId="257"/>
            <ac:spMk id="16" creationId="{6DDA4D3D-4D20-9B45-DD52-6DEF5BD57CFC}"/>
          </ac:spMkLst>
        </pc:spChg>
        <pc:spChg chg="mod">
          <ac:chgData name="Mahalka, Alok" userId="8b5da368-fae3-431a-af6a-84f96258d6d9" providerId="ADAL" clId="{3D2C6324-F994-48BC-BF90-98CD09090247}" dt="2025-08-08T05:21:40.992" v="2"/>
          <ac:spMkLst>
            <pc:docMk/>
            <pc:sldMk cId="1487759490" sldId="257"/>
            <ac:spMk id="17" creationId="{40B9E9D1-1C85-D9C5-D737-77C3545A7337}"/>
          </ac:spMkLst>
        </pc:spChg>
        <pc:spChg chg="mod">
          <ac:chgData name="Mahalka, Alok" userId="8b5da368-fae3-431a-af6a-84f96258d6d9" providerId="ADAL" clId="{3D2C6324-F994-48BC-BF90-98CD09090247}" dt="2025-08-08T05:21:41.008" v="21"/>
          <ac:spMkLst>
            <pc:docMk/>
            <pc:sldMk cId="1487759490" sldId="257"/>
            <ac:spMk id="18" creationId="{0D02E103-78F6-2D79-B001-489A3819CF7C}"/>
          </ac:spMkLst>
        </pc:spChg>
        <pc:spChg chg="mod">
          <ac:chgData name="Mahalka, Alok" userId="8b5da368-fae3-431a-af6a-84f96258d6d9" providerId="ADAL" clId="{3D2C6324-F994-48BC-BF90-98CD09090247}" dt="2025-08-08T05:21:41.019" v="23"/>
          <ac:spMkLst>
            <pc:docMk/>
            <pc:sldMk cId="1487759490" sldId="257"/>
            <ac:spMk id="19" creationId="{357FD357-7F42-539D-3B13-DDBAFED6FE45}"/>
          </ac:spMkLst>
        </pc:spChg>
        <pc:spChg chg="mod">
          <ac:chgData name="Mahalka, Alok" userId="8b5da368-fae3-431a-af6a-84f96258d6d9" providerId="ADAL" clId="{3D2C6324-F994-48BC-BF90-98CD09090247}" dt="2025-08-08T05:21:41.024" v="27"/>
          <ac:spMkLst>
            <pc:docMk/>
            <pc:sldMk cId="1487759490" sldId="257"/>
            <ac:spMk id="20" creationId="{830D8F61-77A1-BAA6-1400-C6A8930ECA55}"/>
          </ac:spMkLst>
        </pc:spChg>
        <pc:spChg chg="mod">
          <ac:chgData name="Mahalka, Alok" userId="8b5da368-fae3-431a-af6a-84f96258d6d9" providerId="ADAL" clId="{3D2C6324-F994-48BC-BF90-98CD09090247}" dt="2025-08-08T05:21:41.024" v="28"/>
          <ac:spMkLst>
            <pc:docMk/>
            <pc:sldMk cId="1487759490" sldId="257"/>
            <ac:spMk id="21" creationId="{46F6A7E6-6899-49F8-0AC8-32F0336134E3}"/>
          </ac:spMkLst>
        </pc:spChg>
        <pc:spChg chg="mod">
          <ac:chgData name="Mahalka, Alok" userId="8b5da368-fae3-431a-af6a-84f96258d6d9" providerId="ADAL" clId="{3D2C6324-F994-48BC-BF90-98CD09090247}" dt="2025-08-08T05:21:41.024" v="29"/>
          <ac:spMkLst>
            <pc:docMk/>
            <pc:sldMk cId="1487759490" sldId="257"/>
            <ac:spMk id="22" creationId="{B05D87FF-2F31-1057-BFB4-2F4CF6802D92}"/>
          </ac:spMkLst>
        </pc:spChg>
        <pc:spChg chg="mod">
          <ac:chgData name="Mahalka, Alok" userId="8b5da368-fae3-431a-af6a-84f96258d6d9" providerId="ADAL" clId="{3D2C6324-F994-48BC-BF90-98CD09090247}" dt="2025-08-08T05:21:41.024" v="31"/>
          <ac:spMkLst>
            <pc:docMk/>
            <pc:sldMk cId="1487759490" sldId="257"/>
            <ac:spMk id="23" creationId="{9BEBD74A-8BB4-BAF2-0B46-815FEF476403}"/>
          </ac:spMkLst>
        </pc:spChg>
        <pc:spChg chg="mod">
          <ac:chgData name="Mahalka, Alok" userId="8b5da368-fae3-431a-af6a-84f96258d6d9" providerId="ADAL" clId="{3D2C6324-F994-48BC-BF90-98CD09090247}" dt="2025-08-08T05:21:41.024" v="32"/>
          <ac:spMkLst>
            <pc:docMk/>
            <pc:sldMk cId="1487759490" sldId="257"/>
            <ac:spMk id="24" creationId="{CBE7E71F-86DB-CBBC-E8A7-81B008371080}"/>
          </ac:spMkLst>
        </pc:spChg>
        <pc:spChg chg="mod">
          <ac:chgData name="Mahalka, Alok" userId="8b5da368-fae3-431a-af6a-84f96258d6d9" providerId="ADAL" clId="{3D2C6324-F994-48BC-BF90-98CD09090247}" dt="2025-08-08T05:21:41.024" v="33"/>
          <ac:spMkLst>
            <pc:docMk/>
            <pc:sldMk cId="1487759490" sldId="257"/>
            <ac:spMk id="25" creationId="{4DF8FF5C-4185-5BA9-36AE-35DA647CE1DA}"/>
          </ac:spMkLst>
        </pc:spChg>
        <pc:spChg chg="mod">
          <ac:chgData name="Mahalka, Alok" userId="8b5da368-fae3-431a-af6a-84f96258d6d9" providerId="ADAL" clId="{3D2C6324-F994-48BC-BF90-98CD09090247}" dt="2025-08-08T05:21:41.071" v="68"/>
          <ac:spMkLst>
            <pc:docMk/>
            <pc:sldMk cId="1487759490" sldId="257"/>
            <ac:spMk id="26" creationId="{DF102509-F906-1070-B583-D5647223AF58}"/>
          </ac:spMkLst>
        </pc:spChg>
        <pc:spChg chg="mod">
          <ac:chgData name="Mahalka, Alok" userId="8b5da368-fae3-431a-af6a-84f96258d6d9" providerId="ADAL" clId="{3D2C6324-F994-48BC-BF90-98CD09090247}" dt="2025-08-08T05:21:41.071" v="70"/>
          <ac:spMkLst>
            <pc:docMk/>
            <pc:sldMk cId="1487759490" sldId="257"/>
            <ac:spMk id="27" creationId="{3AD82264-B62A-60CC-7F97-70BD62D1E8E7}"/>
          </ac:spMkLst>
        </pc:spChg>
        <pc:spChg chg="mod">
          <ac:chgData name="Mahalka, Alok" userId="8b5da368-fae3-431a-af6a-84f96258d6d9" providerId="ADAL" clId="{3D2C6324-F994-48BC-BF90-98CD09090247}" dt="2025-08-08T05:21:41.071" v="71"/>
          <ac:spMkLst>
            <pc:docMk/>
            <pc:sldMk cId="1487759490" sldId="257"/>
            <ac:spMk id="28" creationId="{B3D0A13D-AC92-E322-0948-C82CF2FA3499}"/>
          </ac:spMkLst>
        </pc:spChg>
        <pc:spChg chg="mod">
          <ac:chgData name="Mahalka, Alok" userId="8b5da368-fae3-431a-af6a-84f96258d6d9" providerId="ADAL" clId="{3D2C6324-F994-48BC-BF90-98CD09090247}" dt="2025-08-08T05:21:41.019" v="25"/>
          <ac:spMkLst>
            <pc:docMk/>
            <pc:sldMk cId="1487759490" sldId="257"/>
            <ac:spMk id="35" creationId="{3DE81BAC-397B-5133-0907-F0F61BB35E0B}"/>
          </ac:spMkLst>
        </pc:spChg>
        <pc:spChg chg="mod">
          <ac:chgData name="Mahalka, Alok" userId="8b5da368-fae3-431a-af6a-84f96258d6d9" providerId="ADAL" clId="{3D2C6324-F994-48BC-BF90-98CD09090247}" dt="2025-08-08T05:21:41.024" v="30"/>
          <ac:spMkLst>
            <pc:docMk/>
            <pc:sldMk cId="1487759490" sldId="257"/>
            <ac:spMk id="36" creationId="{23BCB293-0CDC-9691-3576-E3818C01E1FC}"/>
          </ac:spMkLst>
        </pc:spChg>
        <pc:spChg chg="mod">
          <ac:chgData name="Mahalka, Alok" userId="8b5da368-fae3-431a-af6a-84f96258d6d9" providerId="ADAL" clId="{3D2C6324-F994-48BC-BF90-98CD09090247}" dt="2025-08-08T05:21:41.024" v="34"/>
          <ac:spMkLst>
            <pc:docMk/>
            <pc:sldMk cId="1487759490" sldId="257"/>
            <ac:spMk id="37" creationId="{56CF38F6-BD8E-A065-B5EA-05764890D305}"/>
          </ac:spMkLst>
        </pc:spChg>
        <pc:spChg chg="mod">
          <ac:chgData name="Mahalka, Alok" userId="8b5da368-fae3-431a-af6a-84f96258d6d9" providerId="ADAL" clId="{3D2C6324-F994-48BC-BF90-98CD09090247}" dt="2025-08-08T05:21:41.071" v="72" actId="948"/>
          <ac:spMkLst>
            <pc:docMk/>
            <pc:sldMk cId="1487759490" sldId="257"/>
            <ac:spMk id="40" creationId="{F89AE4A1-9F16-A2A6-3C15-0700F5939CBF}"/>
          </ac:spMkLst>
        </pc:spChg>
        <pc:spChg chg="mod">
          <ac:chgData name="Mahalka, Alok" userId="8b5da368-fae3-431a-af6a-84f96258d6d9" providerId="ADAL" clId="{3D2C6324-F994-48BC-BF90-98CD09090247}" dt="2025-08-08T05:21:41.024" v="35"/>
          <ac:spMkLst>
            <pc:docMk/>
            <pc:sldMk cId="1487759490" sldId="257"/>
            <ac:spMk id="41" creationId="{85050628-E9B6-24EC-94B4-C86AFD9C138F}"/>
          </ac:spMkLst>
        </pc:spChg>
        <pc:spChg chg="mod">
          <ac:chgData name="Mahalka, Alok" userId="8b5da368-fae3-431a-af6a-84f96258d6d9" providerId="ADAL" clId="{3D2C6324-F994-48BC-BF90-98CD09090247}" dt="2025-08-08T05:21:41.040" v="47"/>
          <ac:spMkLst>
            <pc:docMk/>
            <pc:sldMk cId="1487759490" sldId="257"/>
            <ac:spMk id="42" creationId="{CA51AEDF-9E2E-3A1C-1518-7B5598F09257}"/>
          </ac:spMkLst>
        </pc:spChg>
        <pc:spChg chg="mod">
          <ac:chgData name="Mahalka, Alok" userId="8b5da368-fae3-431a-af6a-84f96258d6d9" providerId="ADAL" clId="{3D2C6324-F994-48BC-BF90-98CD09090247}" dt="2025-08-08T05:21:41.055" v="57"/>
          <ac:spMkLst>
            <pc:docMk/>
            <pc:sldMk cId="1487759490" sldId="257"/>
            <ac:spMk id="43" creationId="{31514CF4-A3BD-6422-E0C8-69F3B5DC4AE2}"/>
          </ac:spMkLst>
        </pc:spChg>
        <pc:spChg chg="mod">
          <ac:chgData name="Mahalka, Alok" userId="8b5da368-fae3-431a-af6a-84f96258d6d9" providerId="ADAL" clId="{3D2C6324-F994-48BC-BF90-98CD09090247}" dt="2025-08-08T05:21:41.055" v="61"/>
          <ac:spMkLst>
            <pc:docMk/>
            <pc:sldMk cId="1487759490" sldId="257"/>
            <ac:spMk id="44" creationId="{BF862B98-3438-E966-8711-557440189F59}"/>
          </ac:spMkLst>
        </pc:spChg>
        <pc:spChg chg="mod">
          <ac:chgData name="Mahalka, Alok" userId="8b5da368-fae3-431a-af6a-84f96258d6d9" providerId="ADAL" clId="{3D2C6324-F994-48BC-BF90-98CD09090247}" dt="2025-08-08T05:21:41.071" v="63"/>
          <ac:spMkLst>
            <pc:docMk/>
            <pc:sldMk cId="1487759490" sldId="257"/>
            <ac:spMk id="45" creationId="{DF8C1125-1864-080B-5B04-91289FB81091}"/>
          </ac:spMkLst>
        </pc:spChg>
        <pc:spChg chg="mod">
          <ac:chgData name="Mahalka, Alok" userId="8b5da368-fae3-431a-af6a-84f96258d6d9" providerId="ADAL" clId="{3D2C6324-F994-48BC-BF90-98CD09090247}" dt="2025-08-08T05:21:41.071" v="65"/>
          <ac:spMkLst>
            <pc:docMk/>
            <pc:sldMk cId="1487759490" sldId="257"/>
            <ac:spMk id="46" creationId="{2351A6D1-E02F-D812-FFD5-928DBCB54D00}"/>
          </ac:spMkLst>
        </pc:spChg>
        <pc:spChg chg="mod">
          <ac:chgData name="Mahalka, Alok" userId="8b5da368-fae3-431a-af6a-84f96258d6d9" providerId="ADAL" clId="{3D2C6324-F994-48BC-BF90-98CD09090247}" dt="2025-08-08T05:21:41.071" v="66"/>
          <ac:spMkLst>
            <pc:docMk/>
            <pc:sldMk cId="1487759490" sldId="257"/>
            <ac:spMk id="51" creationId="{C756AA2F-A084-9D3F-746E-6FF5110A62B8}"/>
          </ac:spMkLst>
        </pc:spChg>
        <pc:spChg chg="mod">
          <ac:chgData name="Mahalka, Alok" userId="8b5da368-fae3-431a-af6a-84f96258d6d9" providerId="ADAL" clId="{3D2C6324-F994-48BC-BF90-98CD09090247}" dt="2025-08-08T05:21:41.071" v="67"/>
          <ac:spMkLst>
            <pc:docMk/>
            <pc:sldMk cId="1487759490" sldId="257"/>
            <ac:spMk id="52" creationId="{9AB0A311-98EE-A05F-80FB-AC37BE6F0A90}"/>
          </ac:spMkLst>
        </pc:spChg>
        <pc:graphicFrameChg chg="mod">
          <ac:chgData name="Mahalka, Alok" userId="8b5da368-fae3-431a-af6a-84f96258d6d9" providerId="ADAL" clId="{3D2C6324-F994-48BC-BF90-98CD09090247}" dt="2025-08-08T05:21:41.133" v="84"/>
          <ac:graphicFrameMkLst>
            <pc:docMk/>
            <pc:sldMk cId="1487759490" sldId="257"/>
            <ac:graphicFrameMk id="13" creationId="{21335FAF-0395-3F56-4F7E-D2203FCC98EB}"/>
          </ac:graphicFrameMkLst>
        </pc:graphicFrameChg>
      </pc:sldChg>
      <pc:sldChg chg="del">
        <pc:chgData name="Mahalka, Alok" userId="8b5da368-fae3-431a-af6a-84f96258d6d9" providerId="ADAL" clId="{3D2C6324-F994-48BC-BF90-98CD09090247}" dt="2025-08-08T05:21:33.498" v="0" actId="47"/>
        <pc:sldMkLst>
          <pc:docMk/>
          <pc:sldMk cId="879657021" sldId="258"/>
        </pc:sldMkLst>
      </pc:sldChg>
      <pc:sldChg chg="del">
        <pc:chgData name="Mahalka, Alok" userId="8b5da368-fae3-431a-af6a-84f96258d6d9" providerId="ADAL" clId="{3D2C6324-F994-48BC-BF90-98CD09090247}" dt="2025-08-08T05:21:33.498" v="0" actId="47"/>
        <pc:sldMkLst>
          <pc:docMk/>
          <pc:sldMk cId="1886697496" sldId="259"/>
        </pc:sldMkLst>
      </pc:sldChg>
    </pc:docChg>
  </pc:docChgLst>
  <pc:docChgLst>
    <pc:chgData name="Mahalka, Alok" userId="8b5da368-fae3-431a-af6a-84f96258d6d9" providerId="ADAL" clId="{B3122BC5-A107-4E93-9A61-AC181665091F}"/>
    <pc:docChg chg="undo custSel modSld">
      <pc:chgData name="Mahalka, Alok" userId="8b5da368-fae3-431a-af6a-84f96258d6d9" providerId="ADAL" clId="{B3122BC5-A107-4E93-9A61-AC181665091F}" dt="2025-07-29T11:43:33.957" v="2529"/>
      <pc:docMkLst>
        <pc:docMk/>
      </pc:docMkLst>
      <pc:sldChg chg="addSp delSp modSp mod">
        <pc:chgData name="Mahalka, Alok" userId="8b5da368-fae3-431a-af6a-84f96258d6d9" providerId="ADAL" clId="{B3122BC5-A107-4E93-9A61-AC181665091F}" dt="2025-07-29T11:43:33.957" v="2529"/>
        <pc:sldMkLst>
          <pc:docMk/>
          <pc:sldMk cId="1886697496" sldId="259"/>
        </pc:sldMkLst>
        <pc:spChg chg="mod ord">
          <ac:chgData name="Mahalka, Alok" userId="8b5da368-fae3-431a-af6a-84f96258d6d9" providerId="ADAL" clId="{B3122BC5-A107-4E93-9A61-AC181665091F}" dt="2025-07-29T11:43:29.959" v="2227" actId="948"/>
          <ac:spMkLst>
            <pc:docMk/>
            <pc:sldMk cId="1886697496" sldId="259"/>
            <ac:spMk id="2" creationId="{233B0E35-C72A-C14B-6AF6-34F1F7DC4105}"/>
          </ac:spMkLst>
        </pc:spChg>
        <pc:spChg chg="add del mod modVis">
          <ac:chgData name="Mahalka, Alok" userId="8b5da368-fae3-431a-af6a-84f96258d6d9" providerId="ADAL" clId="{B3122BC5-A107-4E93-9A61-AC181665091F}" dt="2025-07-29T11:43:15.135" v="2184"/>
          <ac:spMkLst>
            <pc:docMk/>
            <pc:sldMk cId="1886697496" sldId="259"/>
            <ac:spMk id="13" creationId="{558C6555-EFB3-914C-5610-BD52E649D4F0}"/>
          </ac:spMkLst>
        </pc:spChg>
        <pc:spChg chg="add del mod modVis">
          <ac:chgData name="Mahalka, Alok" userId="8b5da368-fae3-431a-af6a-84f96258d6d9" providerId="ADAL" clId="{B3122BC5-A107-4E93-9A61-AC181665091F}" dt="2025-07-29T11:24:54.522" v="86"/>
          <ac:spMkLst>
            <pc:docMk/>
            <pc:sldMk cId="1886697496" sldId="259"/>
            <ac:spMk id="13" creationId="{6DFFA8EF-3E70-80C2-FD14-67192D412F8D}"/>
          </ac:spMkLst>
        </pc:spChg>
        <pc:spChg chg="add del mod modVis">
          <ac:chgData name="Mahalka, Alok" userId="8b5da368-fae3-431a-af6a-84f96258d6d9" providerId="ADAL" clId="{B3122BC5-A107-4E93-9A61-AC181665091F}" dt="2025-07-29T11:34:45.168" v="311"/>
          <ac:spMkLst>
            <pc:docMk/>
            <pc:sldMk cId="1886697496" sldId="259"/>
            <ac:spMk id="13" creationId="{7E192D13-E7BC-C1B7-44CD-EEF48CD2A1F7}"/>
          </ac:spMkLst>
        </pc:spChg>
        <pc:spChg chg="mod">
          <ac:chgData name="Mahalka, Alok" userId="8b5da368-fae3-431a-af6a-84f96258d6d9" providerId="ADAL" clId="{B3122BC5-A107-4E93-9A61-AC181665091F}" dt="2025-07-29T11:43:29.992" v="2257"/>
          <ac:spMkLst>
            <pc:docMk/>
            <pc:sldMk cId="1886697496" sldId="259"/>
            <ac:spMk id="14" creationId="{13CBE836-1135-42D8-2573-F33D146B35CF}"/>
          </ac:spMkLst>
        </pc:spChg>
        <pc:spChg chg="add del mod modVis">
          <ac:chgData name="Mahalka, Alok" userId="8b5da368-fae3-431a-af6a-84f96258d6d9" providerId="ADAL" clId="{B3122BC5-A107-4E93-9A61-AC181665091F}" dt="2025-07-29T11:43:30.023" v="2259"/>
          <ac:spMkLst>
            <pc:docMk/>
            <pc:sldMk cId="1886697496" sldId="259"/>
            <ac:spMk id="15" creationId="{88495487-542A-9A86-4C7E-0B835EC3ECA3}"/>
          </ac:spMkLst>
        </pc:spChg>
        <pc:spChg chg="del mod">
          <ac:chgData name="Mahalka, Alok" userId="8b5da368-fae3-431a-af6a-84f96258d6d9" providerId="ADAL" clId="{B3122BC5-A107-4E93-9A61-AC181665091F}" dt="2025-07-29T11:34:54.240" v="510"/>
          <ac:spMkLst>
            <pc:docMk/>
            <pc:sldMk cId="1886697496" sldId="259"/>
            <ac:spMk id="15" creationId="{C93A2730-A098-7E39-87F9-77D09BA449CE}"/>
          </ac:spMkLst>
        </pc:spChg>
        <pc:spChg chg="mod">
          <ac:chgData name="Mahalka, Alok" userId="8b5da368-fae3-431a-af6a-84f96258d6d9" providerId="ADAL" clId="{B3122BC5-A107-4E93-9A61-AC181665091F}" dt="2025-07-29T11:43:33.936" v="2493"/>
          <ac:spMkLst>
            <pc:docMk/>
            <pc:sldMk cId="1886697496" sldId="259"/>
            <ac:spMk id="16" creationId="{F3A9A3D4-B61D-87F2-915D-F999FE96E25C}"/>
          </ac:spMkLst>
        </pc:spChg>
        <pc:spChg chg="mod">
          <ac:chgData name="Mahalka, Alok" userId="8b5da368-fae3-431a-af6a-84f96258d6d9" providerId="ADAL" clId="{B3122BC5-A107-4E93-9A61-AC181665091F}" dt="2025-07-29T11:43:33.936" v="2489"/>
          <ac:spMkLst>
            <pc:docMk/>
            <pc:sldMk cId="1886697496" sldId="259"/>
            <ac:spMk id="17" creationId="{D237C8D8-ECEE-99EF-891B-72354F890DCD}"/>
          </ac:spMkLst>
        </pc:spChg>
        <pc:spChg chg="add del mod modVis">
          <ac:chgData name="Mahalka, Alok" userId="8b5da368-fae3-431a-af6a-84f96258d6d9" providerId="ADAL" clId="{B3122BC5-A107-4E93-9A61-AC181665091F}" dt="2025-07-29T11:43:33.957" v="2527"/>
          <ac:spMkLst>
            <pc:docMk/>
            <pc:sldMk cId="1886697496" sldId="259"/>
            <ac:spMk id="18" creationId="{B1A9199E-03FE-8E06-C6E3-F1A9B07CBDED}"/>
          </ac:spMkLst>
        </pc:spChg>
        <pc:spChg chg="del mod">
          <ac:chgData name="Mahalka, Alok" userId="8b5da368-fae3-431a-af6a-84f96258d6d9" providerId="ADAL" clId="{B3122BC5-A107-4E93-9A61-AC181665091F}" dt="2025-07-29T11:34:54.254" v="516"/>
          <ac:spMkLst>
            <pc:docMk/>
            <pc:sldMk cId="1886697496" sldId="259"/>
            <ac:spMk id="18" creationId="{B527DDD3-B2B5-60B8-78E5-EC39EAAB7070}"/>
          </ac:spMkLst>
        </pc:spChg>
        <pc:spChg chg="mod">
          <ac:chgData name="Mahalka, Alok" userId="8b5da368-fae3-431a-af6a-84f96258d6d9" providerId="ADAL" clId="{B3122BC5-A107-4E93-9A61-AC181665091F}" dt="2025-07-29T11:43:33.952" v="2509"/>
          <ac:spMkLst>
            <pc:docMk/>
            <pc:sldMk cId="1886697496" sldId="259"/>
            <ac:spMk id="19" creationId="{2EB32C39-1AFE-48B6-51FC-5E7D873B3462}"/>
          </ac:spMkLst>
        </pc:spChg>
        <pc:spChg chg="mod">
          <ac:chgData name="Mahalka, Alok" userId="8b5da368-fae3-431a-af6a-84f96258d6d9" providerId="ADAL" clId="{B3122BC5-A107-4E93-9A61-AC181665091F}" dt="2025-07-29T11:43:33.952" v="2505"/>
          <ac:spMkLst>
            <pc:docMk/>
            <pc:sldMk cId="1886697496" sldId="259"/>
            <ac:spMk id="20" creationId="{66D92D2B-BF20-FECC-E5AB-3F5875EAD515}"/>
          </ac:spMkLst>
        </pc:spChg>
        <pc:spChg chg="del mod">
          <ac:chgData name="Mahalka, Alok" userId="8b5da368-fae3-431a-af6a-84f96258d6d9" providerId="ADAL" clId="{B3122BC5-A107-4E93-9A61-AC181665091F}" dt="2025-07-29T11:34:54.240" v="513"/>
          <ac:spMkLst>
            <pc:docMk/>
            <pc:sldMk cId="1886697496" sldId="259"/>
            <ac:spMk id="21" creationId="{49FF0DC8-BAD0-C104-EBAF-3E7B96296EFC}"/>
          </ac:spMkLst>
        </pc:spChg>
        <pc:spChg chg="mod">
          <ac:chgData name="Mahalka, Alok" userId="8b5da368-fae3-431a-af6a-84f96258d6d9" providerId="ADAL" clId="{B3122BC5-A107-4E93-9A61-AC181665091F}" dt="2025-07-29T11:43:33.957" v="2525"/>
          <ac:spMkLst>
            <pc:docMk/>
            <pc:sldMk cId="1886697496" sldId="259"/>
            <ac:spMk id="22" creationId="{2C3F60A0-3124-E8F1-BBBE-8A58D36CA6BA}"/>
          </ac:spMkLst>
        </pc:spChg>
        <pc:spChg chg="mod">
          <ac:chgData name="Mahalka, Alok" userId="8b5da368-fae3-431a-af6a-84f96258d6d9" providerId="ADAL" clId="{B3122BC5-A107-4E93-9A61-AC181665091F}" dt="2025-07-29T11:43:33.957" v="2521"/>
          <ac:spMkLst>
            <pc:docMk/>
            <pc:sldMk cId="1886697496" sldId="259"/>
            <ac:spMk id="23" creationId="{2E849FE7-1C42-2AF0-F8CC-C1AD1253F1AC}"/>
          </ac:spMkLst>
        </pc:spChg>
        <pc:spChg chg="mod">
          <ac:chgData name="Mahalka, Alok" userId="8b5da368-fae3-431a-af6a-84f96258d6d9" providerId="ADAL" clId="{B3122BC5-A107-4E93-9A61-AC181665091F}" dt="2025-07-29T11:43:29.928" v="2215"/>
          <ac:spMkLst>
            <pc:docMk/>
            <pc:sldMk cId="1886697496" sldId="259"/>
            <ac:spMk id="24" creationId="{0A19904E-8FF9-7CA9-FAB3-98038D14C044}"/>
          </ac:spMkLst>
        </pc:spChg>
        <pc:spChg chg="mod">
          <ac:chgData name="Mahalka, Alok" userId="8b5da368-fae3-431a-af6a-84f96258d6d9" providerId="ADAL" clId="{B3122BC5-A107-4E93-9A61-AC181665091F}" dt="2025-07-29T11:43:29.943" v="2221"/>
          <ac:spMkLst>
            <pc:docMk/>
            <pc:sldMk cId="1886697496" sldId="259"/>
            <ac:spMk id="25" creationId="{DAC76985-B415-8DC2-34AB-1DBE0511E911}"/>
          </ac:spMkLst>
        </pc:spChg>
        <pc:spChg chg="mod">
          <ac:chgData name="Mahalka, Alok" userId="8b5da368-fae3-431a-af6a-84f96258d6d9" providerId="ADAL" clId="{B3122BC5-A107-4E93-9A61-AC181665091F}" dt="2025-07-29T11:43:29.949" v="2226"/>
          <ac:spMkLst>
            <pc:docMk/>
            <pc:sldMk cId="1886697496" sldId="259"/>
            <ac:spMk id="26" creationId="{66FE4D5B-2AEB-33F9-CC96-13C3B18DCE2D}"/>
          </ac:spMkLst>
        </pc:spChg>
        <pc:spChg chg="add del mod modVis">
          <ac:chgData name="Mahalka, Alok" userId="8b5da368-fae3-431a-af6a-84f96258d6d9" providerId="ADAL" clId="{B3122BC5-A107-4E93-9A61-AC181665091F}" dt="2025-07-29T11:35:09.612" v="939"/>
          <ac:spMkLst>
            <pc:docMk/>
            <pc:sldMk cId="1886697496" sldId="259"/>
            <ac:spMk id="34" creationId="{E13C026C-15A4-0BF4-7F93-E9485673E0AE}"/>
          </ac:spMkLst>
        </pc:spChg>
        <pc:spChg chg="mod">
          <ac:chgData name="Mahalka, Alok" userId="8b5da368-fae3-431a-af6a-84f96258d6d9" providerId="ADAL" clId="{B3122BC5-A107-4E93-9A61-AC181665091F}" dt="2025-07-29T11:43:33.905" v="2475"/>
          <ac:spMkLst>
            <pc:docMk/>
            <pc:sldMk cId="1886697496" sldId="259"/>
            <ac:spMk id="35" creationId="{6023A1D7-A3C6-65C6-37E7-0C842DC2BAFD}"/>
          </ac:spMkLst>
        </pc:spChg>
        <pc:spChg chg="mod">
          <ac:chgData name="Mahalka, Alok" userId="8b5da368-fae3-431a-af6a-84f96258d6d9" providerId="ADAL" clId="{B3122BC5-A107-4E93-9A61-AC181665091F}" dt="2025-07-29T11:43:33.905" v="2476"/>
          <ac:spMkLst>
            <pc:docMk/>
            <pc:sldMk cId="1886697496" sldId="259"/>
            <ac:spMk id="36" creationId="{857F0994-088D-1A09-41F9-6BA421E0DA8B}"/>
          </ac:spMkLst>
        </pc:spChg>
        <pc:spChg chg="mod">
          <ac:chgData name="Mahalka, Alok" userId="8b5da368-fae3-431a-af6a-84f96258d6d9" providerId="ADAL" clId="{B3122BC5-A107-4E93-9A61-AC181665091F}" dt="2025-07-29T11:43:33.905" v="2474"/>
          <ac:spMkLst>
            <pc:docMk/>
            <pc:sldMk cId="1886697496" sldId="259"/>
            <ac:spMk id="37" creationId="{E6CB3C9A-9FE2-86E6-055C-FF04FF9599CF}"/>
          </ac:spMkLst>
        </pc:spChg>
        <pc:spChg chg="mod ord">
          <ac:chgData name="Mahalka, Alok" userId="8b5da368-fae3-431a-af6a-84f96258d6d9" providerId="ADAL" clId="{B3122BC5-A107-4E93-9A61-AC181665091F}" dt="2025-07-29T11:43:33.905" v="2477" actId="948"/>
          <ac:spMkLst>
            <pc:docMk/>
            <pc:sldMk cId="1886697496" sldId="259"/>
            <ac:spMk id="38" creationId="{85FBD823-FE85-A94F-1865-4D8F7E1A5A29}"/>
          </ac:spMkLst>
        </pc:spChg>
        <pc:spChg chg="add del mod modVis">
          <ac:chgData name="Mahalka, Alok" userId="8b5da368-fae3-431a-af6a-84f96258d6d9" providerId="ADAL" clId="{B3122BC5-A107-4E93-9A61-AC181665091F}" dt="2025-07-29T11:35:25.085" v="1517"/>
          <ac:spMkLst>
            <pc:docMk/>
            <pc:sldMk cId="1886697496" sldId="259"/>
            <ac:spMk id="39" creationId="{EC9A764F-FF80-71F8-C097-BB1669028B5F}"/>
          </ac:spMkLst>
        </pc:spChg>
        <pc:spChg chg="add del mod modVis">
          <ac:chgData name="Mahalka, Alok" userId="8b5da368-fae3-431a-af6a-84f96258d6d9" providerId="ADAL" clId="{B3122BC5-A107-4E93-9A61-AC181665091F}" dt="2025-07-29T11:35:33.287" v="1668"/>
          <ac:spMkLst>
            <pc:docMk/>
            <pc:sldMk cId="1886697496" sldId="259"/>
            <ac:spMk id="44" creationId="{1A7544A9-E6A8-BC0B-970D-7E423F1C8FEF}"/>
          </ac:spMkLst>
        </pc:spChg>
        <pc:spChg chg="add del mod modVis">
          <ac:chgData name="Mahalka, Alok" userId="8b5da368-fae3-431a-af6a-84f96258d6d9" providerId="ADAL" clId="{B3122BC5-A107-4E93-9A61-AC181665091F}" dt="2025-07-29T11:35:41.586" v="1852"/>
          <ac:spMkLst>
            <pc:docMk/>
            <pc:sldMk cId="1886697496" sldId="259"/>
            <ac:spMk id="45" creationId="{F5B30294-5698-27CC-0106-C2934F83362E}"/>
          </ac:spMkLst>
        </pc:spChg>
        <pc:spChg chg="mod">
          <ac:chgData name="Mahalka, Alok" userId="8b5da368-fae3-431a-af6a-84f96258d6d9" providerId="ADAL" clId="{B3122BC5-A107-4E93-9A61-AC181665091F}" dt="2025-07-29T11:43:33.936" v="2485"/>
          <ac:spMkLst>
            <pc:docMk/>
            <pc:sldMk cId="1886697496" sldId="259"/>
            <ac:spMk id="53" creationId="{2BD89658-6BBE-47AF-9D7F-513212E0CC8D}"/>
          </ac:spMkLst>
        </pc:spChg>
        <pc:spChg chg="mod">
          <ac:chgData name="Mahalka, Alok" userId="8b5da368-fae3-431a-af6a-84f96258d6d9" providerId="ADAL" clId="{B3122BC5-A107-4E93-9A61-AC181665091F}" dt="2025-07-29T11:43:33.936" v="2501"/>
          <ac:spMkLst>
            <pc:docMk/>
            <pc:sldMk cId="1886697496" sldId="259"/>
            <ac:spMk id="54" creationId="{EF148FB8-7954-6531-F2AF-FC7DE4BC055F}"/>
          </ac:spMkLst>
        </pc:spChg>
        <pc:spChg chg="mod">
          <ac:chgData name="Mahalka, Alok" userId="8b5da368-fae3-431a-af6a-84f96258d6d9" providerId="ADAL" clId="{B3122BC5-A107-4E93-9A61-AC181665091F}" dt="2025-07-29T11:43:33.957" v="2517"/>
          <ac:spMkLst>
            <pc:docMk/>
            <pc:sldMk cId="1886697496" sldId="259"/>
            <ac:spMk id="55" creationId="{274F58FB-0A0A-C5F1-B071-1DC8C7AECD49}"/>
          </ac:spMkLst>
        </pc:spChg>
        <pc:spChg chg="mod">
          <ac:chgData name="Mahalka, Alok" userId="8b5da368-fae3-431a-af6a-84f96258d6d9" providerId="ADAL" clId="{B3122BC5-A107-4E93-9A61-AC181665091F}" dt="2025-07-29T11:43:33.936" v="2481"/>
          <ac:spMkLst>
            <pc:docMk/>
            <pc:sldMk cId="1886697496" sldId="259"/>
            <ac:spMk id="58" creationId="{D1FE2270-7220-F08B-7D2E-FA3DAEAC6047}"/>
          </ac:spMkLst>
        </pc:spChg>
        <pc:spChg chg="mod">
          <ac:chgData name="Mahalka, Alok" userId="8b5da368-fae3-431a-af6a-84f96258d6d9" providerId="ADAL" clId="{B3122BC5-A107-4E93-9A61-AC181665091F}" dt="2025-07-29T11:43:33.936" v="2497"/>
          <ac:spMkLst>
            <pc:docMk/>
            <pc:sldMk cId="1886697496" sldId="259"/>
            <ac:spMk id="59" creationId="{D6FB9C72-1AD0-D0A1-D5B8-AEBDE14943B7}"/>
          </ac:spMkLst>
        </pc:spChg>
        <pc:spChg chg="mod">
          <ac:chgData name="Mahalka, Alok" userId="8b5da368-fae3-431a-af6a-84f96258d6d9" providerId="ADAL" clId="{B3122BC5-A107-4E93-9A61-AC181665091F}" dt="2025-07-29T11:43:33.952" v="2513"/>
          <ac:spMkLst>
            <pc:docMk/>
            <pc:sldMk cId="1886697496" sldId="259"/>
            <ac:spMk id="60" creationId="{FE51AD13-ED17-0C85-6225-ABA03C3A6CE9}"/>
          </ac:spMkLst>
        </pc:spChg>
        <pc:spChg chg="del">
          <ac:chgData name="Mahalka, Alok" userId="8b5da368-fae3-431a-af6a-84f96258d6d9" providerId="ADAL" clId="{B3122BC5-A107-4E93-9A61-AC181665091F}" dt="2025-07-29T11:24:54.350" v="14"/>
          <ac:spMkLst>
            <pc:docMk/>
            <pc:sldMk cId="1886697496" sldId="259"/>
            <ac:spMk id="64" creationId="{98C4E5B8-9DEF-E81C-9F6B-5CB9B8A679C4}"/>
          </ac:spMkLst>
        </pc:spChg>
        <pc:spChg chg="del">
          <ac:chgData name="Mahalka, Alok" userId="8b5da368-fae3-431a-af6a-84f96258d6d9" providerId="ADAL" clId="{B3122BC5-A107-4E93-9A61-AC181665091F}" dt="2025-07-29T11:24:54.350" v="2"/>
          <ac:spMkLst>
            <pc:docMk/>
            <pc:sldMk cId="1886697496" sldId="259"/>
            <ac:spMk id="66" creationId="{F2B25C80-B606-D6DC-A78F-735DE4FE891C}"/>
          </ac:spMkLst>
        </pc:spChg>
        <pc:spChg chg="del">
          <ac:chgData name="Mahalka, Alok" userId="8b5da368-fae3-431a-af6a-84f96258d6d9" providerId="ADAL" clId="{B3122BC5-A107-4E93-9A61-AC181665091F}" dt="2025-07-29T11:24:54.350" v="11"/>
          <ac:spMkLst>
            <pc:docMk/>
            <pc:sldMk cId="1886697496" sldId="259"/>
            <ac:spMk id="67" creationId="{4F84F00B-5311-0646-1F72-03769AFD3576}"/>
          </ac:spMkLst>
        </pc:spChg>
        <pc:spChg chg="del">
          <ac:chgData name="Mahalka, Alok" userId="8b5da368-fae3-431a-af6a-84f96258d6d9" providerId="ADAL" clId="{B3122BC5-A107-4E93-9A61-AC181665091F}" dt="2025-07-29T11:24:54.350" v="5"/>
          <ac:spMkLst>
            <pc:docMk/>
            <pc:sldMk cId="1886697496" sldId="259"/>
            <ac:spMk id="68" creationId="{0D454C74-CB76-CAF2-FB5A-E78447ACDBC5}"/>
          </ac:spMkLst>
        </pc:spChg>
        <pc:spChg chg="del">
          <ac:chgData name="Mahalka, Alok" userId="8b5da368-fae3-431a-af6a-84f96258d6d9" providerId="ADAL" clId="{B3122BC5-A107-4E93-9A61-AC181665091F}" dt="2025-07-29T11:24:54.350" v="8"/>
          <ac:spMkLst>
            <pc:docMk/>
            <pc:sldMk cId="1886697496" sldId="259"/>
            <ac:spMk id="69" creationId="{16E5A093-99C2-354E-435D-51E92F52229F}"/>
          </ac:spMkLst>
        </pc:spChg>
        <pc:spChg chg="del">
          <ac:chgData name="Mahalka, Alok" userId="8b5da368-fae3-431a-af6a-84f96258d6d9" providerId="ADAL" clId="{B3122BC5-A107-4E93-9A61-AC181665091F}" dt="2025-07-29T11:24:54.350" v="13"/>
          <ac:spMkLst>
            <pc:docMk/>
            <pc:sldMk cId="1886697496" sldId="259"/>
            <ac:spMk id="71" creationId="{F31246F4-E7A2-8E33-7FF7-7BEB071BB067}"/>
          </ac:spMkLst>
        </pc:spChg>
        <pc:spChg chg="del">
          <ac:chgData name="Mahalka, Alok" userId="8b5da368-fae3-431a-af6a-84f96258d6d9" providerId="ADAL" clId="{B3122BC5-A107-4E93-9A61-AC181665091F}" dt="2025-07-29T11:24:54.350" v="10"/>
          <ac:spMkLst>
            <pc:docMk/>
            <pc:sldMk cId="1886697496" sldId="259"/>
            <ac:spMk id="72" creationId="{8E9A6BB4-2CAB-F48E-3B73-7DD8148F2D53}"/>
          </ac:spMkLst>
        </pc:spChg>
        <pc:spChg chg="del">
          <ac:chgData name="Mahalka, Alok" userId="8b5da368-fae3-431a-af6a-84f96258d6d9" providerId="ADAL" clId="{B3122BC5-A107-4E93-9A61-AC181665091F}" dt="2025-07-29T11:24:54.350" v="7"/>
          <ac:spMkLst>
            <pc:docMk/>
            <pc:sldMk cId="1886697496" sldId="259"/>
            <ac:spMk id="73" creationId="{79F59931-AD54-3E80-E782-2892494AAC63}"/>
          </ac:spMkLst>
        </pc:spChg>
        <pc:spChg chg="del">
          <ac:chgData name="Mahalka, Alok" userId="8b5da368-fae3-431a-af6a-84f96258d6d9" providerId="ADAL" clId="{B3122BC5-A107-4E93-9A61-AC181665091F}" dt="2025-07-29T11:24:54.350" v="4"/>
          <ac:spMkLst>
            <pc:docMk/>
            <pc:sldMk cId="1886697496" sldId="259"/>
            <ac:spMk id="74" creationId="{69128A56-1EAB-2FB1-77A3-8D7ACF65A9EC}"/>
          </ac:spMkLst>
        </pc:spChg>
        <pc:spChg chg="del">
          <ac:chgData name="Mahalka, Alok" userId="8b5da368-fae3-431a-af6a-84f96258d6d9" providerId="ADAL" clId="{B3122BC5-A107-4E93-9A61-AC181665091F}" dt="2025-07-29T11:24:54.336" v="1"/>
          <ac:spMkLst>
            <pc:docMk/>
            <pc:sldMk cId="1886697496" sldId="259"/>
            <ac:spMk id="75" creationId="{4B0AAF15-23DD-3AA1-4868-F5298FCEF22B}"/>
          </ac:spMkLst>
        </pc:spChg>
        <pc:grpChg chg="mod">
          <ac:chgData name="Mahalka, Alok" userId="8b5da368-fae3-431a-af6a-84f96258d6d9" providerId="ADAL" clId="{B3122BC5-A107-4E93-9A61-AC181665091F}" dt="2025-07-29T11:35:25.070" v="1485"/>
          <ac:grpSpMkLst>
            <pc:docMk/>
            <pc:sldMk cId="1886697496" sldId="259"/>
            <ac:grpSpMk id="11" creationId="{274B41F6-B1B9-40D7-388A-25B4C4EE6DC3}"/>
          </ac:grpSpMkLst>
        </pc:grpChg>
        <pc:grpChg chg="mod">
          <ac:chgData name="Mahalka, Alok" userId="8b5da368-fae3-431a-af6a-84f96258d6d9" providerId="ADAL" clId="{B3122BC5-A107-4E93-9A61-AC181665091F}" dt="2025-07-29T11:35:25.070" v="1484"/>
          <ac:grpSpMkLst>
            <pc:docMk/>
            <pc:sldMk cId="1886697496" sldId="259"/>
            <ac:grpSpMk id="12" creationId="{DC8A6E9E-F968-B57C-5886-011577962C7C}"/>
          </ac:grpSpMkLst>
        </pc:grpChg>
        <pc:graphicFrameChg chg="add del mod">
          <ac:chgData name="Mahalka, Alok" userId="8b5da368-fae3-431a-af6a-84f96258d6d9" providerId="ADAL" clId="{B3122BC5-A107-4E93-9A61-AC181665091F}" dt="2025-07-29T11:34:45.059" v="273"/>
          <ac:graphicFrameMkLst>
            <pc:docMk/>
            <pc:sldMk cId="1886697496" sldId="259"/>
            <ac:graphicFrameMk id="27" creationId="{EA05FC12-9F26-6941-3878-C7CF438DFE4F}"/>
          </ac:graphicFrameMkLst>
        </pc:graphicFrameChg>
        <pc:graphicFrameChg chg="add del mod">
          <ac:chgData name="Mahalka, Alok" userId="8b5da368-fae3-431a-af6a-84f96258d6d9" providerId="ADAL" clId="{B3122BC5-A107-4E93-9A61-AC181665091F}" dt="2025-07-29T11:34:46.693" v="366"/>
          <ac:graphicFrameMkLst>
            <pc:docMk/>
            <pc:sldMk cId="1886697496" sldId="259"/>
            <ac:graphicFrameMk id="29" creationId="{194B66D4-E903-A8E8-C2BE-0842896D50D2}"/>
          </ac:graphicFrameMkLst>
        </pc:graphicFrameChg>
        <pc:graphicFrameChg chg="add del mod">
          <ac:chgData name="Mahalka, Alok" userId="8b5da368-fae3-431a-af6a-84f96258d6d9" providerId="ADAL" clId="{B3122BC5-A107-4E93-9A61-AC181665091F}" dt="2025-07-29T11:34:48.701" v="459"/>
          <ac:graphicFrameMkLst>
            <pc:docMk/>
            <pc:sldMk cId="1886697496" sldId="259"/>
            <ac:graphicFrameMk id="31" creationId="{9AE09C70-F4CC-ADEF-69A5-E3499C47CCAC}"/>
          </ac:graphicFrameMkLst>
        </pc:graphicFrameChg>
        <pc:graphicFrameChg chg="add mod">
          <ac:chgData name="Mahalka, Alok" userId="8b5da368-fae3-431a-af6a-84f96258d6d9" providerId="ADAL" clId="{B3122BC5-A107-4E93-9A61-AC181665091F}" dt="2025-07-29T11:35:25.070" v="1488"/>
          <ac:graphicFrameMkLst>
            <pc:docMk/>
            <pc:sldMk cId="1886697496" sldId="259"/>
            <ac:graphicFrameMk id="33" creationId="{7379CFB2-E68F-2CC5-09B2-896AD2F11E9D}"/>
          </ac:graphicFrameMkLst>
        </pc:graphicFrameChg>
        <pc:graphicFrameChg chg="mod">
          <ac:chgData name="Mahalka, Alok" userId="8b5da368-fae3-431a-af6a-84f96258d6d9" providerId="ADAL" clId="{B3122BC5-A107-4E93-9A61-AC181665091F}" dt="2025-07-29T11:43:33.957" v="2529"/>
          <ac:graphicFrameMkLst>
            <pc:docMk/>
            <pc:sldMk cId="1886697496" sldId="259"/>
            <ac:graphicFrameMk id="40" creationId="{B55195F6-DFA9-1A91-FE78-5D6A1AC36DBD}"/>
          </ac:graphicFrameMkLst>
        </pc:graphicFrameChg>
        <pc:graphicFrameChg chg="del">
          <ac:chgData name="Mahalka, Alok" userId="8b5da368-fae3-431a-af6a-84f96258d6d9" providerId="ADAL" clId="{B3122BC5-A107-4E93-9A61-AC181665091F}" dt="2025-07-29T11:25:00.809" v="112"/>
          <ac:graphicFrameMkLst>
            <pc:docMk/>
            <pc:sldMk cId="1886697496" sldId="259"/>
            <ac:graphicFrameMk id="76" creationId="{FD31225C-D809-6287-1711-9CCB734C4830}"/>
          </ac:graphicFrameMkLst>
        </pc:graphicFrameChg>
        <pc:cxnChg chg="add del mod ord">
          <ac:chgData name="Mahalka, Alok" userId="8b5da368-fae3-431a-af6a-84f96258d6d9" providerId="ADAL" clId="{B3122BC5-A107-4E93-9A61-AC181665091F}" dt="2025-07-29T11:34:54.240" v="509"/>
          <ac:cxnSpMkLst>
            <pc:docMk/>
            <pc:sldMk cId="1886697496" sldId="259"/>
            <ac:cxnSpMk id="28" creationId="{FC5346B7-D4EF-788D-8473-98C9214665CA}"/>
          </ac:cxnSpMkLst>
        </pc:cxnChg>
        <pc:cxnChg chg="add del mod ord">
          <ac:chgData name="Mahalka, Alok" userId="8b5da368-fae3-431a-af6a-84f96258d6d9" providerId="ADAL" clId="{B3122BC5-A107-4E93-9A61-AC181665091F}" dt="2025-07-29T11:34:54.254" v="515"/>
          <ac:cxnSpMkLst>
            <pc:docMk/>
            <pc:sldMk cId="1886697496" sldId="259"/>
            <ac:cxnSpMk id="30" creationId="{B7DECC8C-B3CD-1811-9D71-88EE0510F07F}"/>
          </ac:cxnSpMkLst>
        </pc:cxnChg>
        <pc:cxnChg chg="add del mod ord">
          <ac:chgData name="Mahalka, Alok" userId="8b5da368-fae3-431a-af6a-84f96258d6d9" providerId="ADAL" clId="{B3122BC5-A107-4E93-9A61-AC181665091F}" dt="2025-07-29T11:34:54.240" v="512"/>
          <ac:cxnSpMkLst>
            <pc:docMk/>
            <pc:sldMk cId="1886697496" sldId="259"/>
            <ac:cxnSpMk id="32" creationId="{2DB46355-6BB1-2EBD-1C06-6E5F1DAACCD8}"/>
          </ac:cxnSpMkLst>
        </pc:cxnChg>
        <pc:cxnChg chg="add del mod ord">
          <ac:chgData name="Mahalka, Alok" userId="8b5da368-fae3-431a-af6a-84f96258d6d9" providerId="ADAL" clId="{B3122BC5-A107-4E93-9A61-AC181665091F}" dt="2025-07-29T11:35:33.224" v="1573"/>
          <ac:cxnSpMkLst>
            <pc:docMk/>
            <pc:sldMk cId="1886697496" sldId="259"/>
            <ac:cxnSpMk id="41" creationId="{96D7CC72-9EA2-8781-F53C-E3D8EA6134E3}"/>
          </ac:cxnSpMkLst>
        </pc:cxnChg>
        <pc:cxnChg chg="add del mod ord">
          <ac:chgData name="Mahalka, Alok" userId="8b5da368-fae3-431a-af6a-84f96258d6d9" providerId="ADAL" clId="{B3122BC5-A107-4E93-9A61-AC181665091F}" dt="2025-07-29T11:35:33.256" v="1610"/>
          <ac:cxnSpMkLst>
            <pc:docMk/>
            <pc:sldMk cId="1886697496" sldId="259"/>
            <ac:cxnSpMk id="42" creationId="{DDF9F534-F1BC-2EC9-8D04-33059CF610AE}"/>
          </ac:cxnSpMkLst>
        </pc:cxnChg>
        <pc:cxnChg chg="add del mod ord">
          <ac:chgData name="Mahalka, Alok" userId="8b5da368-fae3-431a-af6a-84f96258d6d9" providerId="ADAL" clId="{B3122BC5-A107-4E93-9A61-AC181665091F}" dt="2025-07-29T11:35:33.272" v="1647"/>
          <ac:cxnSpMkLst>
            <pc:docMk/>
            <pc:sldMk cId="1886697496" sldId="259"/>
            <ac:cxnSpMk id="43" creationId="{7FB07B79-7A1A-A1DC-7018-6992011618BD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91180695202527E-3"/>
          <c:y val="2.9262802476083285E-2"/>
          <c:w val="0.98506176386095945"/>
          <c:h val="0.9414743950478334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666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45.454545454545453</c:v>
                </c:pt>
                <c:pt idx="1">
                  <c:v>45.454545454545453</c:v>
                </c:pt>
                <c:pt idx="2">
                  <c:v>45.4545454545454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3B-4557-BA40-826B0B12A690}"/>
            </c:ext>
          </c:extLst>
        </c:ser>
        <c:ser>
          <c:idx val="1"/>
          <c:order val="1"/>
          <c:spPr>
            <a:solidFill>
              <a:srgbClr val="B4B4B4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6.36363636363636</c:v>
                </c:pt>
                <c:pt idx="1">
                  <c:v>36.36363636363636</c:v>
                </c:pt>
                <c:pt idx="2">
                  <c:v>36.36363636363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3B-4557-BA40-826B0B12A690}"/>
            </c:ext>
          </c:extLst>
        </c:ser>
        <c:ser>
          <c:idx val="2"/>
          <c:order val="2"/>
          <c:spPr>
            <a:solidFill>
              <a:srgbClr val="507867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8.181818181818187</c:v>
                </c:pt>
                <c:pt idx="1">
                  <c:v>18.181818181818187</c:v>
                </c:pt>
                <c:pt idx="2">
                  <c:v>18.181818181818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3B-4557-BA40-826B0B12A6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53280"/>
        <c:axId val="1"/>
      </c:barChart>
      <c:catAx>
        <c:axId val="4753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crossAx val="4753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Presentation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chart" Target="../charts/char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1335FAF-0395-3F56-4F7E-D2203FCC98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742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06" imgH="608" progId="TCLayout.ActiveDocument.1">
                  <p:embed/>
                </p:oleObj>
              </mc:Choice>
              <mc:Fallback>
                <p:oleObj name="think-cell Slide" r:id="rId30" imgW="606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335FAF-0395-3F56-4F7E-D2203FCC9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0BF4B078-BD78-3C5B-DB50-FBAF714531D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224323">
              <a:extLst>
                <a:ext uri="{FF2B5EF4-FFF2-40B4-BE49-F238E27FC236}">
                  <a16:creationId xmlns:a16="http://schemas.microsoft.com/office/drawing/2014/main" id="{9A532F07-6A42-49CB-0259-9FB134A0CBE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456218">
              <a:extLst>
                <a:ext uri="{FF2B5EF4-FFF2-40B4-BE49-F238E27FC236}">
                  <a16:creationId xmlns:a16="http://schemas.microsoft.com/office/drawing/2014/main" id="{AE253BF2-4933-7450-DEEA-99961E67DBF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72081">
              <a:extLst>
                <a:ext uri="{FF2B5EF4-FFF2-40B4-BE49-F238E27FC236}">
                  <a16:creationId xmlns:a16="http://schemas.microsoft.com/office/drawing/2014/main" id="{75915298-3F18-AF97-336B-643D9BAA166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73689">
              <a:extLst>
                <a:ext uri="{FF2B5EF4-FFF2-40B4-BE49-F238E27FC236}">
                  <a16:creationId xmlns:a16="http://schemas.microsoft.com/office/drawing/2014/main" id="{2BB5AEF7-D2FC-FF08-5503-F493A533BF9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6291F83A-AB74-E0D0-6484-B66DA40B3A1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234635">
              <a:extLst>
                <a:ext uri="{FF2B5EF4-FFF2-40B4-BE49-F238E27FC236}">
                  <a16:creationId xmlns:a16="http://schemas.microsoft.com/office/drawing/2014/main" id="{C77FC43D-49F4-6362-79D4-84FD7567E15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246868">
              <a:extLst>
                <a:ext uri="{FF2B5EF4-FFF2-40B4-BE49-F238E27FC236}">
                  <a16:creationId xmlns:a16="http://schemas.microsoft.com/office/drawing/2014/main" id="{5672D683-33D2-D180-121F-D681716C699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419069">
              <a:extLst>
                <a:ext uri="{FF2B5EF4-FFF2-40B4-BE49-F238E27FC236}">
                  <a16:creationId xmlns:a16="http://schemas.microsoft.com/office/drawing/2014/main" id="{7B324365-9748-BA91-D146-A10C48AF520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243754">
              <a:extLst>
                <a:ext uri="{FF2B5EF4-FFF2-40B4-BE49-F238E27FC236}">
                  <a16:creationId xmlns:a16="http://schemas.microsoft.com/office/drawing/2014/main" id="{1720CC55-FFEE-5FC5-A4B9-D2FE3066548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086CE3-54B1-FC76-075F-A7419CEDB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PS Type</a:t>
            </a:r>
          </a:p>
        </p:txBody>
      </p: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3C2DFD16-59E5-7A38-5E55-2A64972B8D6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7673025"/>
              </p:ext>
            </p:extLst>
          </p:nvPr>
        </p:nvGraphicFramePr>
        <p:xfrm>
          <a:off x="877888" y="2011363"/>
          <a:ext cx="11052175" cy="2820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DDA4D3D-4D20-9B45-DD52-6DEF5BD57CF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61975" y="1835150"/>
            <a:ext cx="798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000000"/>
                </a:solidFill>
                <a:effectLst/>
                <a:cs typeface="+mn-cs"/>
              </a:rPr>
              <a:t># respondents</a:t>
            </a:r>
            <a:endParaRPr lang="en-US" sz="10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0B9E9D1-1C85-D9C5-D737-77C3545A733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722563" y="22590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F9F3D703-E44E-4E45-843E-C94AF4E75F39}" type="datetime'''''''''''''''''''''''''''''''''''''2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D02E103-78F6-2D79-B001-489A3819CF7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722563" y="29829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B44BB4B-E6FA-4D73-9561-24C07A96DB52}" type="datetime'''''''''''''''''''''''''''4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57FD357-7F42-539D-3B13-DDBAFED6FE4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722563" y="40687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05A2B3A-93D3-4274-969E-7F0BC71E7404}" type="datetime'''''''''''''''''''''''''''''''''''''5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30D8F61-77A1-BAA6-1400-C6A8930ECA5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351588" y="22590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0801901C-34D8-4E82-B97C-19C8AFE319A9}" type="datetime'''''''''''''''''''''''''''''''''''''''''''2'''''''''''">
              <a:rPr lang="en-US" altLang="en-US" sz="1000" smtClean="0">
                <a:solidFill>
                  <a:srgbClr val="FFFFFF"/>
                </a:solidFill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6F6A7E6-6899-49F8-0AC8-32F0336134E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351588" y="29829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E3094ABA-6A9F-4FB6-A321-3BC04C9C76D8}" type="datetime'''''''''''4''''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05D87FF-2F31-1057-BFB4-2F4CF6802D9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351588" y="40687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266B324-26DC-4549-B2E3-C82758B5599A}" type="datetime'''''''''''''5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BEBD74A-8BB4-BAF2-0B46-815FEF47640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9980613" y="22590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6817766-438C-4F0F-A088-30F95489972D}" type="datetime'''''''''2'''''''''''''''''''''">
              <a:rPr lang="en-US" altLang="en-US" sz="1000" smtClean="0">
                <a:solidFill>
                  <a:srgbClr val="FFFFFF"/>
                </a:solidFill>
                <a:cs typeface="+mn-cs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CBE7E71F-86DB-CBBC-E8A7-81B00837108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9980613" y="29829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CA99A084-6CC6-40AB-AAAE-FF26E54944B7}" type="datetime'4''''''''''''''''''''''''''''''''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4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DF8FF5C-4185-5BA9-36AE-35DA647CE1D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9980613" y="40687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3B34FB64-1D70-4236-B8B6-9F66D38B2AFB}" type="datetime'''''''''''''''''''''''''''''''''''''''''''''''''5'''''''''''">
              <a:rPr lang="en-US" altLang="en-US" sz="1000" smtClean="0">
                <a:solidFill>
                  <a:srgbClr val="FFFFFF"/>
                </a:solidFill>
                <a:cs typeface="+mn-cs"/>
              </a:rPr>
              <a:pPr/>
              <a:t>5</a:t>
            </a:fld>
            <a:endParaRPr lang="en-US" sz="1000">
              <a:solidFill>
                <a:srgbClr val="FFFFFF"/>
              </a:solidFill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3DE81BAC-397B-5133-0907-F0F61BB35E0B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687638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49C6BE0-9E74-48F7-9C24-C19D881A96AE}" type="datetime'''''1''''''''''1''''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1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23BCB293-0CDC-9691-3576-E3818C01E1FC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316663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9F4A0292-9E10-4C58-A5FC-95C9CA013B93}" type="datetime'''''''''''''''''''''''1''''''''''''''1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1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6CF38F6-BD8E-A065-B5EA-05764890D305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9945688" y="19161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30698" indent="-209533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82560" indent="-243397" algn="l" defTabSz="596849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2pPr>
            <a:lvl3pPr marL="71748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3pPr>
            <a:lvl4pPr marL="958769" indent="-239165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4pPr>
            <a:lvl5pPr marL="1195815" indent="-247628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rgbClr val="36C746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5pPr>
            <a:lvl6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194713" indent="-243821" algn="l" defTabSz="609547" rtl="0" eaLnBrk="1" latinLnBrk="0" hangingPunct="1">
              <a:spcBef>
                <a:spcPts val="667"/>
              </a:spcBef>
              <a:spcAft>
                <a:spcPts val="667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1050" kern="120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4571610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58" indent="-304775" algn="l" defTabSz="609547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fld id="{818E441C-0389-48BA-ABAC-76EB9CF52561}" type="datetime'1''''''''''''1'''''''''''''''''">
              <a:rPr lang="en-US" altLang="en-US" sz="1000" smtClean="0">
                <a:solidFill>
                  <a:srgbClr val="000000"/>
                </a:solidFill>
                <a:cs typeface="+mn-cs"/>
              </a:rPr>
              <a:pPr/>
              <a:t>11</a:t>
            </a:fld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85050628-E9B6-24EC-94B4-C86AFD9C138F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30200" y="5094288"/>
            <a:ext cx="630238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A0FFD0B-05AC-469A-9762-47254894F766}" type="datetime'''''N''''''P''''''''''''S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NPS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CA51AEDF-9E2E-3A1C-1518-7B5598F0925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960438" y="5094288"/>
            <a:ext cx="3629025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368C58D-B342-433D-B475-B72FDFE5BF16}" type="datetime'''0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31514CF4-A3BD-6422-E0C8-69F3B5DC4AE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30200" y="5518150"/>
            <a:ext cx="630238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4491D69-4D5A-4F61-A3DF-55A862AA4346}" type="datetime'''''A''v''''''''''''g.'''''''' Sc''''o''''''r''e'''''''''">
              <a:rPr lang="en-US" altLang="en-US" sz="1000" smtClean="0">
                <a:solidFill>
                  <a:srgbClr val="000000"/>
                </a:solidFill>
              </a:rPr>
              <a:pPr/>
              <a:t>Avg. Score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BF862B98-3438-E966-8711-557440189F59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60438" y="5518150"/>
            <a:ext cx="3629025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C771E58-4B9A-44D8-B0CD-A0E4D39BE640}" type="datetime'''''''7''''''''''''''''''''''''''''.''''''9'''''">
              <a:rPr lang="en-US" altLang="en-US" sz="1000" smtClean="0">
                <a:solidFill>
                  <a:srgbClr val="000000"/>
                </a:solidFill>
              </a:rPr>
              <a:pPr/>
              <a:t>7.9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DF8C1125-1864-080B-5B04-91289FB81091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8218488" y="5094288"/>
            <a:ext cx="3629025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F10B95A-3E0A-4A45-BED3-22F317940C38}" type="datetime'''''''''''''1''''''''''''''9'''''''''''''''''''''''''''''">
              <a:rPr lang="en-US" altLang="en-US" sz="1000" smtClean="0">
                <a:solidFill>
                  <a:srgbClr val="000000"/>
                </a:solidFill>
              </a:rPr>
              <a:pPr/>
              <a:t>19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2351A6D1-E02F-D812-FFD5-928DBCB54D0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8218488" y="5518150"/>
            <a:ext cx="3629025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EDB6A4-0A7C-4D8B-8880-F1E6F99B80A0}" type="datetime'''''''''''''''7''''''''''.''''''9'''''''''''''''">
              <a:rPr lang="en-US" altLang="en-US" sz="1000" smtClean="0">
                <a:solidFill>
                  <a:srgbClr val="000000"/>
                </a:solidFill>
              </a:rPr>
              <a:pPr/>
              <a:t>7.9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C756AA2F-A084-9D3F-746E-6FF5110A62B8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4589463" y="5094288"/>
            <a:ext cx="3629025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3CB7F6-FFAE-4BEC-806E-AC4978F3F908}" type="datetime'''''''''''''''''''''''''''''''''''''19'">
              <a:rPr lang="en-US" altLang="en-US" sz="1000" smtClean="0">
                <a:solidFill>
                  <a:srgbClr val="000000"/>
                </a:solidFill>
              </a:rPr>
              <a:pPr/>
              <a:t>19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52" name="Text Placeholder">
            <a:extLst>
              <a:ext uri="{FF2B5EF4-FFF2-40B4-BE49-F238E27FC236}">
                <a16:creationId xmlns:a16="http://schemas.microsoft.com/office/drawing/2014/main" id="{9AB0A311-98EE-A05F-80FB-AC37BE6F0A9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589463" y="5518150"/>
            <a:ext cx="3629025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34938" rIns="0" bIns="136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EEB9C8-5A74-4BA4-AA8F-44FAB95106AC}" type="datetime'''''''''''''''''''''''''7.''9'">
              <a:rPr lang="en-US" altLang="en-US" sz="1000" smtClean="0">
                <a:solidFill>
                  <a:srgbClr val="000000"/>
                </a:solidFill>
              </a:rPr>
              <a:pPr/>
              <a:t>7.9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DF102509-F906-1070-B583-D5647223AF58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960438" y="4754563"/>
            <a:ext cx="362902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0800" rIns="0" bIns="13652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BC0B609-6D14-4096-BBAA-E0B707501E4D}" type="datetime'''''B''''''''''''''ra''''''''''''''''''''''''''n''d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3AD82264-B62A-60CC-7F97-70BD62D1E8E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4589463" y="4754563"/>
            <a:ext cx="362902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0800" rIns="0" bIns="13652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6851DC-F2BE-400F-955D-E87553E5E6DD}" type="datetime'B''''''''''''''r''''''''''''''''a''''''''''''''n''''''''d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B3D0A13D-AC92-E322-0948-C82CF2FA3499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8218488" y="4754563"/>
            <a:ext cx="362902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50800" rIns="0" bIns="13652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8B4DA9-1DF0-4BAF-A5C2-C7A6038EF83E}" type="datetime'''''''''''''''''''''''''B''''''''ra''nd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89AE4A1-9F16-A2A6-3C15-0700F5939CB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30200" y="1270000"/>
            <a:ext cx="11531600" cy="438150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0" tIns="112713" rIns="0" bIns="112713" numCol="1" spcCol="0" rtlCol="0" anchor="ctr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CBBA55C-783E-49ED-8265-717D169BA3F2}" type="thinkcell&lt;?xml version=&quot;1.0&quot; encoding=&quot;UTF-16&quot; standalone=&quot;yes&quot;?&gt;&lt;root reqver=&quot;30783&quot;&gt;&lt;version val=&quot;36876&quot;/&gt;&lt;PersistentType&gt;&lt;m_varval type=&quot;5&quot;&gt;&lt;/m_varval&gt;&lt;m_vecbMoniker&gt;&lt;/m_vecbMoniker&gt;&lt;m_prec&gt;&lt;m_yearfmt&gt;&lt;begin val=&quot;0&quot;/&gt;&lt;end val=&quot;4&quot;/&gt;&lt;/m_yearfmt&gt;&lt;/m_prec&gt;&lt;m_bUseExcelFont val=&quot;0&quot;/&gt;&lt;m_bUseExcelFontColor val=&quot;0&quot;/&gt;&lt;m_strName&gt;QuestionTextNps&lt;/m_strName&gt;&lt;/PersistentType&gt;&lt;/root&gt;">
              <a:rPr lang="en-US" altLang="en-US" sz="1400" b="1" i="1" smtClean="0">
                <a:solidFill>
                  <a:srgbClr val="000000"/>
                </a:solidFill>
                <a:effectLst/>
                <a:latin typeface="+mn-lt"/>
                <a:cs typeface="+mn-cs"/>
              </a:rPr>
              <a:pPr/>
              <a:t>&lt;QuestionTextNps&gt;</a:t>
            </a:fld>
            <a:endParaRPr lang="en-US" sz="1400" b="1" i="1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7759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Boston"/>
  <p:tag name="THINKCELLPRESENTATIONDONOTDELETE" val="&lt;?xml version=&quot;1.0&quot; encoding=&quot;UTF-16&quot; standalone=&quot;yes&quot;?&gt;&lt;root reqver=&quot;30783&quot;&gt;&lt;version val=&quot;3690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V46JSJUWlvmOZpEQ5o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0FJ86zBYbW.h1FMADb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SjhFYwQ0fQ4tk3qJMM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rikPzcrpPWc2i6H.FZ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PRUEzWgATZFVaMEQxX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xv1EnIOsnuOZNGks.D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cg5UW5WITSZGNThnxX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aRbZVF4hlEAjoqtHHy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SDniutKsNzEK6p9gf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KOjn692C6N.0MD17hF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BSboEHKMv9P355uluW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dECo7zZ43.uOxKT9Xu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P.NCE8rnYP_Oe6.Ujw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TfxhQXs0TPfHdvCqlZ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j1FmostYBTi_kPlf8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Ntq_VMjVgpnyj6zy9h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UhHzP_kMixlNplm0yN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JW4lCkaTuul8w5s0Pm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cVOafhDngctUcC8yaO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2vIDc1NGsZE7.0s51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vbQXsCBsyyZKRZgqyB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FJRPLmGwx.po.amvYj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s0sJm65qsUURN7wL8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3t_fL9U9cQ8_h5iTW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VYRsY5ewL37zerM0L2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C8CRsqoP6vi5arAGiZ6Q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1645</TotalTime>
  <Words>28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Bain Core</vt:lpstr>
      <vt:lpstr>think-cell Slide</vt:lpstr>
      <vt:lpstr>NPS Type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halka, Alok</dc:creator>
  <cp:lastModifiedBy>Mahalka, Alok</cp:lastModifiedBy>
  <cp:revision>2</cp:revision>
  <cp:lastPrinted>2017-02-15T14:23:56Z</cp:lastPrinted>
  <dcterms:created xsi:type="dcterms:W3CDTF">2025-06-18T11:03:16Z</dcterms:created>
  <dcterms:modified xsi:type="dcterms:W3CDTF">2025-08-08T05:21:42Z</dcterms:modified>
</cp:coreProperties>
</file>